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6A78EC73-BEED-4044-9862-3062CA09572F}">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1.0592623627851547E-2</c:v>
                </c:pt>
                <c:pt idx="5">
                  <c:v>0.962182520350110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5592991707818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7135287829923273E-2</c:v>
                </c:pt>
                <c:pt idx="5">
                  <c:v>0.415417090404118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7.12215599324088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6164471576807047E-4</c:v>
                </c:pt>
                <c:pt idx="5">
                  <c:v>4.04446488674869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8.8700176470336175E-5</c:v>
                </c:pt>
                <c:pt idx="4">
                  <c:v>1.0330978912083476E-2</c:v>
                </c:pt>
                <c:pt idx="5">
                  <c:v>0.4195062294382766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62920181039548251</c:v>
                </c:pt>
                <c:pt idx="5">
                  <c:v>0.366982075228217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2.7500576492208946E-2</c:v>
                </c:pt>
                <c:pt idx="5">
                  <c:v>6.3014691318907391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8151937470294337E-3</c:v>
                </c:pt>
                <c:pt idx="4">
                  <c:v>4.205849329807404E-2</c:v>
                </c:pt>
                <c:pt idx="5">
                  <c:v>0.353113827322322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4.4483604471820051E-2</c:v>
                </c:pt>
                <c:pt idx="5">
                  <c:v>6.714930038845760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4054233123778846E-2</c:v>
                </c:pt>
                <c:pt idx="5">
                  <c:v>8.258198252838069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7110490300960067</c:v>
                </c:pt>
                <c:pt idx="5">
                  <c:v>1.23708720620345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3.03803780949932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1338076374360117</c:v>
                </c:pt>
                <c:pt idx="5">
                  <c:v>0.123541309332997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62920181039548251</c:v>
                </c:pt>
                <c:pt idx="5">
                  <c:v>0.366982075228217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1.3922270215382851E-2</c:v>
                </c:pt>
                <c:pt idx="5">
                  <c:v>0.9575296628105460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3.253625835392130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8546255761932988E-2</c:v>
                </c:pt>
                <c:pt idx="5">
                  <c:v>0.31010499573764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839002514531685E-3</c:v>
                </c:pt>
                <c:pt idx="5">
                  <c:v>6.5528062435000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67808680385393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925794782454419</c:v>
                </c:pt>
                <c:pt idx="5">
                  <c:v>1.27383699639296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7.002916503154874E-2</c:v>
                </c:pt>
                <c:pt idx="5">
                  <c:v>0.517013337260663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8231035371234139E-3</c:v>
                </c:pt>
                <c:pt idx="5">
                  <c:v>8.54145628596246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742385645979653</c:v>
                </c:pt>
                <c:pt idx="5">
                  <c:v>5.41062029521591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734849459052232E-2</c:v>
                </c:pt>
                <c:pt idx="5">
                  <c:v>0.5259512746665631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5.0850788674914535E-3</c:v>
                </c:pt>
                <c:pt idx="5">
                  <c:v>9.49460265390746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150994669377673E-2</c:v>
                </c:pt>
                <c:pt idx="5">
                  <c:v>6.08620710571713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2.2511185430467279E-2</c:v>
                </c:pt>
                <c:pt idx="5">
                  <c:v>7.1467881617785207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8151937470294337E-3</c:v>
                </c:pt>
                <c:pt idx="4">
                  <c:v>4.205849329807404E-2</c:v>
                </c:pt>
                <c:pt idx="5">
                  <c:v>0.353113827322322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4.4483604471820051E-2</c:v>
                </c:pt>
                <c:pt idx="5">
                  <c:v>6.714930038845760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4054233123778846E-2</c:v>
                </c:pt>
                <c:pt idx="5">
                  <c:v>8.258198252838069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7609429407134235</c:v>
                </c:pt>
                <c:pt idx="5">
                  <c:v>1.237086360884424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0976747951362341E-2</c:v>
                </c:pt>
                <c:pt idx="5">
                  <c:v>0.515199093152235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8202240786807821E-3</c:v>
                </c:pt>
                <c:pt idx="5">
                  <c:v>0.112774616966921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6217390319164535</c:v>
                </c:pt>
                <c:pt idx="5">
                  <c:v>3.29606740827185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5.780621953104888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3232569303200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78981228106662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71415623889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097896308679309</c:v>
                </c:pt>
                <c:pt idx="5">
                  <c:v>1.53224609263778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5.782695173959465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4841767004630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802117401507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392766561946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072200271220707</c:v>
                </c:pt>
                <c:pt idx="5">
                  <c:v>1.5327587220883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5.978097315827744E-7</c:v>
                </c:pt>
                <c:pt idx="5">
                  <c:v>0.2608931340086964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5.6012409771829953E-2</c:v>
                </c:pt>
                <c:pt idx="5">
                  <c:v>0.207624962519334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6.7800371996582948E-7</c:v>
                </c:pt>
                <c:pt idx="5">
                  <c:v>0.204385417003162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4308452718306097</c:v>
                </c:pt>
                <c:pt idx="5">
                  <c:v>1.7910445171483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7875153603401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Kiri</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28456622879144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9.8252420552249836E-2</c:v>
                </c:pt>
                <c:pt idx="5">
                  <c:v>0.177536193379699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897948502065427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Kiri</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341935612729960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5691618756728132E-2</c:v>
                </c:pt>
                <c:pt idx="5">
                  <c:v>0.225688740575492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487683587736191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17129929237872402</c:v>
                </c:pt>
                <c:pt idx="5">
                  <c:v>2.104448021725856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798220004897224</c:v>
                </c:pt>
                <c:pt idx="5">
                  <c:v>2.19199877305012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8.765991781950135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1056722777330523</c:v>
                </c:pt>
                <c:pt idx="5">
                  <c:v>2.24416132688524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802630179166219</c:v>
                </c:pt>
                <c:pt idx="5">
                  <c:v>1.47829363565585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6.0043904862287075E-3</c:v>
                </c:pt>
                <c:pt idx="4">
                  <c:v>5.9868934120682574E-2</c:v>
                </c:pt>
                <c:pt idx="5">
                  <c:v>0.49924613837550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2728812152162747</c:v>
                </c:pt>
                <c:pt idx="5">
                  <c:v>2.3859830268788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20637419286496705</c:v>
                </c:pt>
                <c:pt idx="5">
                  <c:v>9.91694560635871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62817327035301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1747940913506426</c:v>
                </c:pt>
                <c:pt idx="5">
                  <c:v>0.123541309332997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5">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509609251190562</c:v>
                </c:pt>
                <c:pt idx="5">
                  <c:v>3.432788608795078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25585374922362847</c:v>
                </c:pt>
                <c:pt idx="5">
                  <c:v>1.79198980680322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8158784715439398E-2</c:v>
                </c:pt>
                <c:pt idx="4">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20295720249873142</c:v>
                </c:pt>
                <c:pt idx="5">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6776139159646253</c:v>
                </c:pt>
                <c:pt idx="5">
                  <c:v>1.76522046387320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2453555003583989</c:v>
                </c:pt>
                <c:pt idx="5">
                  <c:v>3.90411299171644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947427465266687E-3</c:v>
                </c:pt>
                <c:pt idx="5">
                  <c:v>0.139258760494768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3367182533738382</c:v>
                </c:pt>
                <c:pt idx="5">
                  <c:v>1.76921272883838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044955639265975</c:v>
                </c:pt>
                <c:pt idx="5">
                  <c:v>9.02697449736895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283804284681825</c:v>
                </c:pt>
                <c:pt idx="5">
                  <c:v>9.66943577715834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1214428017079657E-2</c:v>
                </c:pt>
                <c:pt idx="4">
                  <c:v>0.39316479699998952</c:v>
                </c:pt>
                <c:pt idx="5">
                  <c:v>0.595620636070036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1.1214428017079657E-2</c:v>
                </c:pt>
                <c:pt idx="4">
                  <c:v>0.38052634313860251</c:v>
                </c:pt>
                <c:pt idx="5">
                  <c:v>4.2278565975602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252984213611278E-2</c:v>
                </c:pt>
                <c:pt idx="5">
                  <c:v>0.161826590847082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704758156152124E-2</c:v>
                </c:pt>
                <c:pt idx="5">
                  <c:v>0.1814983177120629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1.3922270215382851E-2</c:v>
                </c:pt>
                <c:pt idx="5">
                  <c:v>0.9575296628105460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8.8724017404071293E-2</c:v>
                </c:pt>
                <c:pt idx="4">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4481530301634538</c:v>
                </c:pt>
                <c:pt idx="5">
                  <c:v>1.15207202342994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9872647507392613</c:v>
                </c:pt>
                <c:pt idx="5">
                  <c:v>3.76806056263366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9070744690142086</c:v>
                </c:pt>
                <c:pt idx="5">
                  <c:v>7.56152204969023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199640211029345</c:v>
                </c:pt>
                <c:pt idx="5">
                  <c:v>3.50425610147881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729480017267349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8546255761932988E-2</c:v>
                </c:pt>
                <c:pt idx="5">
                  <c:v>0.31010499573764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839002514531685E-3</c:v>
                </c:pt>
                <c:pt idx="5">
                  <c:v>6.5528062435000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67808680385393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9782093642668973</c:v>
                </c:pt>
                <c:pt idx="5">
                  <c:v>1.27383699639296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C$2:$C$7</c:f>
              <c:numCache>
                <c:formatCode>General</c:formatCode>
                <c:ptCount val="6"/>
                <c:pt idx="5">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D$2:$D$7</c:f>
              <c:numCache>
                <c:formatCode>General</c:formatCode>
                <c:ptCount val="6"/>
                <c:pt idx="5">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E$2:$E$7</c:f>
              <c:numCache>
                <c:formatCode>General</c:formatCode>
                <c:ptCount val="6"/>
                <c:pt idx="5">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F$2:$F$7</c:f>
              <c:numCache>
                <c:formatCode>General</c:formatCode>
                <c:ptCount val="6"/>
                <c:pt idx="5">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4286208207628E-3</c:v>
                </c:pt>
                <c:pt idx="4">
                  <c:v>0.40804610377818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4962661834552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4984022727663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68717951532027</c:v>
                </c:pt>
                <c:pt idx="5">
                  <c:v>1.00574593606659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67893497806912E-3</c:v>
                </c:pt>
                <c:pt idx="4">
                  <c:v>0.408155240119997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50002403675399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0229425435477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51694878162356</c:v>
                </c:pt>
                <c:pt idx="5">
                  <c:v>9.878388375108254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129999999999995</c:v>
                </c:pt>
                <c:pt idx="5">
                  <c:v>1.87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3.1722693827264343E-4</c:v>
                </c:pt>
                <c:pt idx="5">
                  <c:v>1.66315113611356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6.4029418547897473E-3</c:v>
                </c:pt>
                <c:pt idx="4">
                  <c:v>0.30059361475833668</c:v>
                </c:pt>
                <c:pt idx="5">
                  <c:v>9.869410956230606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6816106113083506E-4</c:v>
                </c:pt>
                <c:pt idx="5">
                  <c:v>4.802290106456781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6.9873947386171103E-4</c:v>
                </c:pt>
                <c:pt idx="5">
                  <c:v>3.8780155887631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1.3524774040608676E-2</c:v>
                </c:pt>
                <c:pt idx="5">
                  <c:v>0.475744107755842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6340000000000003</c:v>
                </c:pt>
                <c:pt idx="5">
                  <c:v>3.66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8.4804669979695007E-4</c:v>
                </c:pt>
                <c:pt idx="5">
                  <c:v>2.22986354053144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395034556391022</c:v>
                </c:pt>
                <c:pt idx="5">
                  <c:v>0.121855757803867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309999999999997</c:v>
                </c:pt>
                <c:pt idx="5">
                  <c:v>1.68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1.0592623627851547E-2</c:v>
                </c:pt>
                <c:pt idx="5">
                  <c:v>0.962182520350110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2.598453055585228E-4</c:v>
                </c:pt>
                <c:pt idx="5">
                  <c:v>1.51511496998105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7135287829923273E-2</c:v>
                </c:pt>
                <c:pt idx="5">
                  <c:v>0.415417090404118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7.12215599324088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6164471576807047E-4</c:v>
                </c:pt>
                <c:pt idx="5">
                  <c:v>4.04446488674869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8.8700176470336175E-5</c:v>
                </c:pt>
                <c:pt idx="4">
                  <c:v>1.0071133606524953E-2</c:v>
                </c:pt>
                <c:pt idx="5">
                  <c:v>0.419948071446285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35E-2</c:v>
                </c:pt>
                <c:pt idx="5">
                  <c:v>0.9865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8151937470294337E-3</c:v>
                </c:pt>
                <c:pt idx="4">
                  <c:v>0.62920181039548251</c:v>
                </c:pt>
                <c:pt idx="5">
                  <c:v>0.366982075228217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593236866181405E-2</c:v>
                </c:pt>
                <c:pt idx="5">
                  <c:v>2.1806233930907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8151937470294337E-3</c:v>
                </c:pt>
                <c:pt idx="4">
                  <c:v>4.205849329807404E-2</c:v>
                </c:pt>
                <c:pt idx="5">
                  <c:v>0.353113827322322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4.4483604471820051E-2</c:v>
                </c:pt>
                <c:pt idx="5">
                  <c:v>6.714930038845760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4054233123778846E-2</c:v>
                </c:pt>
                <c:pt idx="5">
                  <c:v>8.258198252838069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8267311083999559</c:v>
                </c:pt>
                <c:pt idx="5">
                  <c:v>1.215287273741677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7570000000000001</c:v>
                </c:pt>
                <c:pt idx="5">
                  <c:v>2.4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7237631000963556</c:v>
                </c:pt>
                <c:pt idx="5">
                  <c:v>0.627623689990364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4.7292114209746011E-4</c:v>
                </c:pt>
                <c:pt idx="5">
                  <c:v>1.90197024381994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2474143940039494</c:v>
                </c:pt>
                <c:pt idx="5">
                  <c:v>0.123068388190899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919999999999997</c:v>
                </c:pt>
                <c:pt idx="5">
                  <c:v>1.0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8546255761932988E-2</c:v>
                </c:pt>
                <c:pt idx="4">
                  <c:v>1.3922270215382851E-2</c:v>
                </c:pt>
                <c:pt idx="5">
                  <c:v>0.9575296628105460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2.6454046997988044E-4</c:v>
                </c:pt>
                <c:pt idx="5">
                  <c:v>2.41204410302705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8546255761932988E-2</c:v>
                </c:pt>
                <c:pt idx="5">
                  <c:v>0.31010499573764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839002514531685E-3</c:v>
                </c:pt>
                <c:pt idx="5">
                  <c:v>6.5528062435000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67808680385393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50099529556909261</c:v>
                </c:pt>
                <c:pt idx="5">
                  <c:v>1.24738294939498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6799999999999997</c:v>
                </c:pt>
                <c:pt idx="5">
                  <c:v>3.20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2695847152083134</c:v>
                </c:pt>
                <c:pt idx="5">
                  <c:v>0.87304152847916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2.8231035371234139E-3</c:v>
                </c:pt>
                <c:pt idx="5">
                  <c:v>8.541456285962463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7.002916503154874E-2</c:v>
                </c:pt>
                <c:pt idx="5">
                  <c:v>0.517013337260663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20000223764204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5.5423834083376075E-2</c:v>
                </c:pt>
                <c:pt idx="5">
                  <c:v>5.41062029521591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4920000000000004</c:v>
                </c:pt>
                <c:pt idx="5">
                  <c:v>5.07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7.002916503154874E-2</c:v>
                </c:pt>
                <c:pt idx="5">
                  <c:v>0.517013337260663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8231035371234139E-3</c:v>
                </c:pt>
                <c:pt idx="5">
                  <c:v>8.541456285962463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742385645979653</c:v>
                </c:pt>
                <c:pt idx="5">
                  <c:v>5.410620295215917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5.0850788674914535E-3</c:v>
                </c:pt>
                <c:pt idx="5">
                  <c:v>9.49460265390746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734849459052232E-2</c:v>
                </c:pt>
                <c:pt idx="5">
                  <c:v>0.5259512746665631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150994669377673E-2</c:v>
                </c:pt>
                <c:pt idx="5">
                  <c:v>1.1819860389618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5899999999999996</c:v>
                </c:pt>
                <c:pt idx="5">
                  <c:v>4.10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4.8202240786807821E-3</c:v>
                </c:pt>
                <c:pt idx="5">
                  <c:v>0.1127746169669212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0976747951362341E-2</c:v>
                </c:pt>
                <c:pt idx="5">
                  <c:v>0.515199093152235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1429534979989518E-2</c:v>
                </c:pt>
                <c:pt idx="5">
                  <c:v>3.29606740827185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13491897843372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3232569303200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78981228106662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71415623889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9635553924408903E-2</c:v>
                </c:pt>
                <c:pt idx="5">
                  <c:v>1.53224609263778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13564775659725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4841767004630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802117401507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392766561946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9371307841408468E-2</c:v>
                </c:pt>
                <c:pt idx="5">
                  <c:v>1.5327587220883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5.978097315827744E-7</c:v>
                </c:pt>
                <c:pt idx="5">
                  <c:v>0.260893134008696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6012409771829953E-2</c:v>
                </c:pt>
                <c:pt idx="5">
                  <c:v>0.2076249625193346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6.7800371996582948E-7</c:v>
                </c:pt>
                <c:pt idx="5">
                  <c:v>0.2043854170031624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2799578039646142</c:v>
                </c:pt>
                <c:pt idx="5">
                  <c:v>0.1430845271830609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284566228791441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Mini Baby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9.8252420552249836E-2</c:v>
                </c:pt>
                <c:pt idx="5">
                  <c:v>0.1775361933796990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341987901446214</c:v>
                </c:pt>
                <c:pt idx="5">
                  <c:v>0.1035833481404317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34193561272996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Mini Baby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5691618756728132E-2</c:v>
                </c:pt>
                <c:pt idx="5">
                  <c:v>0.2256887405754928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23461653100292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329564451518511</c:v>
                </c:pt>
                <c:pt idx="5">
                  <c:v>0.866704355484814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9.325584622743983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17129929237872402</c:v>
                </c:pt>
                <c:pt idx="5">
                  <c:v>2.104448021725856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6472650258989117</c:v>
                </c:pt>
                <c:pt idx="5">
                  <c:v>2.19199877305012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1023564401954708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0821166417701262</c:v>
                </c:pt>
                <c:pt idx="5">
                  <c:v>2.24416132688524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1347789063774303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4324739541423188</c:v>
                </c:pt>
                <c:pt idx="5">
                  <c:v>1.47829363565585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0100000000000001E-2</c:v>
                </c:pt>
                <c:pt idx="5">
                  <c:v>0.9398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734849459052232E-2</c:v>
                </c:pt>
                <c:pt idx="5">
                  <c:v>0.5259512746665631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5.0850788674914535E-3</c:v>
                </c:pt>
                <c:pt idx="5">
                  <c:v>9.49460265390746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150994669377673E-2</c:v>
                </c:pt>
                <c:pt idx="5">
                  <c:v>6.08620710571713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9.8459932187546974E-3</c:v>
                </c:pt>
                <c:pt idx="5">
                  <c:v>6.300585341544022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6.0043904862287075E-3</c:v>
                </c:pt>
                <c:pt idx="4">
                  <c:v>5.9868934120682574E-2</c:v>
                </c:pt>
                <c:pt idx="5">
                  <c:v>0.49924613837550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2728812152162747</c:v>
                </c:pt>
                <c:pt idx="5">
                  <c:v>2.3859830268788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9652819964621238</c:v>
                </c:pt>
                <c:pt idx="5">
                  <c:v>9.286887072204314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14E-2</c:v>
                </c:pt>
                <c:pt idx="5">
                  <c:v>0.9185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4830640004605952E-2</c:v>
                </c:pt>
                <c:pt idx="5">
                  <c:v>1.31398085800469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5">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509609251190562</c:v>
                </c:pt>
                <c:pt idx="5">
                  <c:v>3.432788608795078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24102310921902254</c:v>
                </c:pt>
                <c:pt idx="5">
                  <c:v>1.66059172100276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6E-2</c:v>
                </c:pt>
                <c:pt idx="5">
                  <c:v>0.940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2931505572932741E-2</c:v>
                </c:pt>
                <c:pt idx="5">
                  <c:v>8.193496303674965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8158784715439398E-2</c:v>
                </c:pt>
                <c:pt idx="4">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20295720249873142</c:v>
                </c:pt>
                <c:pt idx="5">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5482988602352979</c:v>
                </c:pt>
                <c:pt idx="5">
                  <c:v>1.68328550083645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2453555003583989</c:v>
                </c:pt>
                <c:pt idx="5">
                  <c:v>3.90411299171644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947427465266687E-3</c:v>
                </c:pt>
                <c:pt idx="5">
                  <c:v>0.139258760494768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3367182533738382</c:v>
                </c:pt>
                <c:pt idx="5">
                  <c:v>1.76921272883838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044955639265975</c:v>
                </c:pt>
                <c:pt idx="5">
                  <c:v>9.02697449736895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283804284681825</c:v>
                </c:pt>
                <c:pt idx="5">
                  <c:v>9.66943577715834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1214428017079657E-2</c:v>
                </c:pt>
                <c:pt idx="4">
                  <c:v>0.39316479699998952</c:v>
                </c:pt>
                <c:pt idx="5">
                  <c:v>0.595620636070036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1.1214428017079657E-2</c:v>
                </c:pt>
                <c:pt idx="4">
                  <c:v>0.38052634313860251</c:v>
                </c:pt>
                <c:pt idx="5">
                  <c:v>4.2278565975602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252984213611278E-2</c:v>
                </c:pt>
                <c:pt idx="5">
                  <c:v>0.161826590847082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6.6126578770870303E-2</c:v>
                </c:pt>
                <c:pt idx="5">
                  <c:v>0.9338734212291297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704758156152124E-2</c:v>
                </c:pt>
                <c:pt idx="5">
                  <c:v>0.1814983177120629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8.8724017404071293E-2</c:v>
                </c:pt>
                <c:pt idx="4">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4481530301634538</c:v>
                </c:pt>
                <c:pt idx="5">
                  <c:v>1.15207202342994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9872647507392613</c:v>
                </c:pt>
                <c:pt idx="5">
                  <c:v>3.76806056263366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9070744690142086</c:v>
                </c:pt>
                <c:pt idx="5">
                  <c:v>7.56152204969023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6.0976747951362341E-2</c:v>
                </c:pt>
                <c:pt idx="5">
                  <c:v>0.515199093152235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8202240786807821E-3</c:v>
                </c:pt>
                <c:pt idx="5">
                  <c:v>0.112774616966921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6217390319164535</c:v>
                </c:pt>
                <c:pt idx="5">
                  <c:v>3.296067408271851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199640211029345</c:v>
                </c:pt>
                <c:pt idx="5">
                  <c:v>3.50425610147881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C$2:$C$7</c:f>
              <c:numCache>
                <c:formatCode>General</c:formatCode>
                <c:ptCount val="6"/>
                <c:pt idx="5">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D$2:$D$7</c:f>
              <c:numCache>
                <c:formatCode>General</c:formatCode>
                <c:ptCount val="6"/>
                <c:pt idx="5">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E$2:$E$7</c:f>
              <c:numCache>
                <c:formatCode>General</c:formatCode>
                <c:ptCount val="6"/>
                <c:pt idx="5">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F$2:$F$7</c:f>
              <c:numCache>
                <c:formatCode>General</c:formatCode>
                <c:ptCount val="6"/>
                <c:pt idx="5">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4286208207628E-3</c:v>
                </c:pt>
                <c:pt idx="4">
                  <c:v>0.40804610377818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4962661834552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4984022727663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68717951532027</c:v>
                </c:pt>
                <c:pt idx="5">
                  <c:v>1.00574593606659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67893497806912E-3</c:v>
                </c:pt>
                <c:pt idx="4">
                  <c:v>0.408155240119997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50002403675399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0229425435477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51694878162356</c:v>
                </c:pt>
                <c:pt idx="5">
                  <c:v>9.878388375108254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2460926377875E-2</c:v>
                </c:pt>
                <c:pt idx="5">
                  <c:v>0.98467753907362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6.0470127345829268E-8</c:v>
                </c:pt>
                <c:pt idx="5">
                  <c:v>1.90470770767490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6.4029418547897473E-3</c:v>
                </c:pt>
                <c:pt idx="4">
                  <c:v>0.30059361475833668</c:v>
                </c:pt>
                <c:pt idx="5">
                  <c:v>9.869410956230606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6816106113083506E-4</c:v>
                </c:pt>
                <c:pt idx="5">
                  <c:v>4.802290106456781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6.9873947386171103E-4</c:v>
                </c:pt>
                <c:pt idx="5">
                  <c:v>3.8780155887631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1.3841940508753973E-2</c:v>
                </c:pt>
                <c:pt idx="5">
                  <c:v>0.4733285420402288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3232569303200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78981228106662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71415623889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09847437087462</c:v>
                </c:pt>
                <c:pt idx="5">
                  <c:v>1.53224609263778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327587220883452E-2</c:v>
                </c:pt>
                <c:pt idx="5">
                  <c:v>0.98467241277911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714841767004630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4802117401507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44392766561946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072778540738103</c:v>
                </c:pt>
                <c:pt idx="5">
                  <c:v>1.5327587220883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09821276834247</c:v>
                </c:pt>
                <c:pt idx="5">
                  <c:v>0.800899293927655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6.7800371996582948E-7</c:v>
                </c:pt>
                <c:pt idx="5">
                  <c:v>0.2043854170031624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5.978097315827744E-7</c:v>
                </c:pt>
                <c:pt idx="5">
                  <c:v>0.260893134008696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6012409771829953E-2</c:v>
                </c:pt>
                <c:pt idx="5">
                  <c:v>0.2076249625193346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4308452718306097</c:v>
                </c:pt>
                <c:pt idx="5">
                  <c:v>1.79104451714831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0183576869268158</c:v>
                </c:pt>
                <c:pt idx="5">
                  <c:v>0.79816423130731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284566228791441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9.8252420552249836E-2</c:v>
                </c:pt>
                <c:pt idx="5">
                  <c:v>0.177536193379699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5691618756728132E-2</c:v>
                </c:pt>
                <c:pt idx="5">
                  <c:v>0.984293683057960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341935612729960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5691618756728132E-2</c:v>
                </c:pt>
                <c:pt idx="5">
                  <c:v>0.2256887405754928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5">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7349129115177414</c:v>
                </c:pt>
                <c:pt idx="5">
                  <c:v>0.826508708848225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7.200548776721844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17129929237872402</c:v>
                </c:pt>
                <c:pt idx="5">
                  <c:v>2.104448021725856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078180004060916</c:v>
                </c:pt>
                <c:pt idx="5">
                  <c:v>2.19199877305012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191216152567098</c:v>
                </c:pt>
                <c:pt idx="5">
                  <c:v>0.86808783847432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03460955159996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0022200885648379</c:v>
                </c:pt>
                <c:pt idx="5">
                  <c:v>2.24416132688524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4782936356558503E-3</c:v>
                </c:pt>
                <c:pt idx="5">
                  <c:v>0.9985217063643442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6.76478544246583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126151634919635</c:v>
                </c:pt>
                <c:pt idx="5">
                  <c:v>1.47829363565585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0043904862287075E-3</c:v>
                </c:pt>
                <c:pt idx="4">
                  <c:v>0.48244470402663914</c:v>
                </c:pt>
                <c:pt idx="5">
                  <c:v>0.511549067008742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6.0043904862287075E-3</c:v>
                </c:pt>
                <c:pt idx="4">
                  <c:v>5.9868934120682574E-2</c:v>
                </c:pt>
                <c:pt idx="5">
                  <c:v>0.499246138375505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2728812152162747</c:v>
                </c:pt>
                <c:pt idx="5">
                  <c:v>2.38598302687885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20637419286496705</c:v>
                </c:pt>
                <c:pt idx="5">
                  <c:v>9.91694560635871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5491384163766513</c:v>
                </c:pt>
                <c:pt idx="5">
                  <c:v>0.5450861583623347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5">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509609251190562</c:v>
                </c:pt>
                <c:pt idx="5">
                  <c:v>3.432788608795078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25585374922362847</c:v>
                </c:pt>
                <c:pt idx="5">
                  <c:v>1.79198980680322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8158784715439398E-2</c:v>
                </c:pt>
                <c:pt idx="4">
                  <c:v>0.93052216816424571</c:v>
                </c:pt>
                <c:pt idx="5">
                  <c:v>2.131904712031498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50141091619643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3678798188245227</c:v>
                </c:pt>
                <c:pt idx="5">
                  <c:v>0.122703804503664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8158784715439398E-2</c:v>
                </c:pt>
                <c:pt idx="4">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20295720249873142</c:v>
                </c:pt>
                <c:pt idx="5">
                  <c:v>3.6668424815829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6776139159646253</c:v>
                </c:pt>
                <c:pt idx="5">
                  <c:v>1.76522046387320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2925219022994495</c:v>
                </c:pt>
                <c:pt idx="5">
                  <c:v>0.670747809770054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2453555003583989</c:v>
                </c:pt>
                <c:pt idx="5">
                  <c:v>3.90411299171644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947427465266687E-3</c:v>
                </c:pt>
                <c:pt idx="5">
                  <c:v>0.139258760494768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3367182533738382</c:v>
                </c:pt>
                <c:pt idx="5">
                  <c:v>1.769212728838386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969444933101009</c:v>
                </c:pt>
                <c:pt idx="5">
                  <c:v>0.69030555066899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044955639265975</c:v>
                </c:pt>
                <c:pt idx="5">
                  <c:v>9.02697449736895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9.6694357771583469E-3</c:v>
                </c:pt>
                <c:pt idx="5">
                  <c:v>0.990330564222841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283804284681825</c:v>
                </c:pt>
                <c:pt idx="5">
                  <c:v>9.66943577715834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1214428017079657E-2</c:v>
                </c:pt>
                <c:pt idx="4">
                  <c:v>0.39316479699998952</c:v>
                </c:pt>
                <c:pt idx="5">
                  <c:v>0.595620636070036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1.1214428017079657E-2</c:v>
                </c:pt>
                <c:pt idx="4">
                  <c:v>0.38052634313860251</c:v>
                </c:pt>
                <c:pt idx="5">
                  <c:v>4.22785659756024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252984213611278E-2</c:v>
                </c:pt>
                <c:pt idx="5">
                  <c:v>0.161826590847082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4110215436405622</c:v>
                </c:pt>
                <c:pt idx="5">
                  <c:v>0.588978456359437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704758156152124E-2</c:v>
                </c:pt>
                <c:pt idx="5">
                  <c:v>0.1814983177120629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8724017404071293E-2</c:v>
                </c:pt>
                <c:pt idx="4">
                  <c:v>0.89975416335213909</c:v>
                </c:pt>
                <c:pt idx="5">
                  <c:v>1.15207202342994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8.8724017404071293E-2</c:v>
                </c:pt>
                <c:pt idx="4">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4481530301634538</c:v>
                </c:pt>
                <c:pt idx="5">
                  <c:v>1.15207202342994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7135287829923273E-2</c:v>
                </c:pt>
                <c:pt idx="4">
                  <c:v>1.0592623627851547E-2</c:v>
                </c:pt>
                <c:pt idx="5">
                  <c:v>0.9621825203501100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0628799712361637</c:v>
                </c:pt>
                <c:pt idx="5">
                  <c:v>0.6937120028763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9872647507392613</c:v>
                </c:pt>
                <c:pt idx="5">
                  <c:v>3.76806056263366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9070744690142086</c:v>
                </c:pt>
                <c:pt idx="5">
                  <c:v>7.56152204969023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48547039866676</c:v>
                </c:pt>
                <c:pt idx="5">
                  <c:v>0.745145296013332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199640211029345</c:v>
                </c:pt>
                <c:pt idx="5">
                  <c:v>3.50425610147881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C$2:$C$7</c:f>
              <c:numCache>
                <c:formatCode>General</c:formatCode>
                <c:ptCount val="6"/>
                <c:pt idx="5">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D$2:$D$7</c:f>
              <c:numCache>
                <c:formatCode>General</c:formatCode>
                <c:ptCount val="6"/>
                <c:pt idx="5">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E$2:$E$7</c:f>
              <c:numCache>
                <c:formatCode>General</c:formatCode>
                <c:ptCount val="6"/>
                <c:pt idx="5">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 CT</c:v>
                </c:pt>
                <c:pt idx="5">
                  <c:v>1-2 CT</c:v>
                </c:pt>
              </c:strCache>
            </c:strRef>
          </c:cat>
          <c:val>
            <c:numRef>
              <c:f>Sheet1!$F$2:$F$7</c:f>
              <c:numCache>
                <c:formatCode>General</c:formatCode>
                <c:ptCount val="6"/>
                <c:pt idx="5">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4286208207628E-3</c:v>
                </c:pt>
                <c:pt idx="4">
                  <c:v>0.98967996785572576</c:v>
                </c:pt>
                <c:pt idx="5">
                  <c:v>1.00574593606659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308091585350249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2.7135287829923273E-2</c:v>
                </c:pt>
                <c:pt idx="5">
                  <c:v>0.415417090404118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7.12215599324088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2.6164471576807047E-4</c:v>
                </c:pt>
                <c:pt idx="5">
                  <c:v>4.04446488674869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8.8700176470336175E-5</c:v>
                </c:pt>
                <c:pt idx="4">
                  <c:v>1.0330978912083476E-2</c:v>
                </c:pt>
                <c:pt idx="5">
                  <c:v>0.422018305292593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4286208207628E-3</c:v>
                </c:pt>
                <c:pt idx="4">
                  <c:v>0.40804610377818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49626618345527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49840227276631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68717951532027</c:v>
                </c:pt>
                <c:pt idx="5">
                  <c:v>1.00574593606659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9.3167893497806912E-3</c:v>
                </c:pt>
                <c:pt idx="4">
                  <c:v>0.98969537181270861</c:v>
                </c:pt>
                <c:pt idx="5">
                  <c:v>9.878388375108254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9.3167893497806912E-3</c:v>
                </c:pt>
                <c:pt idx="4">
                  <c:v>0.408155240119997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350002403675399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0229425435477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7151694878162356</c:v>
                </c:pt>
                <c:pt idx="5">
                  <c:v>9.878388375108254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6.4029418547897473E-3</c:v>
                </c:pt>
                <c:pt idx="4">
                  <c:v>0.31570251627221058</c:v>
                </c:pt>
                <c:pt idx="5">
                  <c:v>0.677872785631483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5.3317746692021511E-8</c:v>
                </c:pt>
                <c:pt idx="5">
                  <c:v>2.3268711888397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6.4029418547897473E-3</c:v>
                </c:pt>
                <c:pt idx="4">
                  <c:v>0.30059361475833668</c:v>
                </c:pt>
                <c:pt idx="5">
                  <c:v>9.869410956230606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6816106113083506E-4</c:v>
                </c:pt>
                <c:pt idx="5">
                  <c:v>4.802290106456781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6.9873947386171103E-4</c:v>
                </c:pt>
                <c:pt idx="5">
                  <c:v>3.8780155887631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1.3841947661134626E-2</c:v>
                </c:pt>
                <c:pt idx="5">
                  <c:v>0.469106907228580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609850374468101</c:v>
                </c:pt>
                <c:pt idx="5">
                  <c:v>0.63901496255318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8915068219525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32887022824891</c:v>
                </c:pt>
                <c:pt idx="5">
                  <c:v>0.122703804503664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6745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752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5308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51408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66607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95971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3873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7948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13980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94519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940632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33997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62240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4633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280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08202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3067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96532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6859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16135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03679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2031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267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49439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20773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31262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356010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59665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98268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3106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771563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11565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1288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12013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79074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69447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835018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15236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3515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60366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668798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150892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1439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2158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41551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007906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139057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3527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243972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34341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3990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3015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24360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05773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3229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20802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53274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30714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8911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079550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65672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715387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300992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89830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25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5081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42183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98864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36216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608701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99603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93265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72087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923275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44261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96887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025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97825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882186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18984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52107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64960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27974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415502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48352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628817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77837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9027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3657702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588969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77983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012687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10371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6639</Words>
  <Application>Microsoft Office PowerPoint</Application>
  <PresentationFormat>On-screen Show (16:9)</PresentationFormat>
  <Paragraphs>2047</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